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4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02970179575012E-2"/>
          <c:y val="3.1195118656279552E-2"/>
          <c:w val="0.96761077746637603"/>
          <c:h val="0.7960084425228952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3</c:v>
                </c:pt>
                <c:pt idx="6">
                  <c:v>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F9-4ED1-92F8-D77055268F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  <c:pt idx="5">
                  <c:v>3.2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BF9-4ED1-92F8-D77055268FF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38100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4.2</c:v>
                </c:pt>
                <c:pt idx="5">
                  <c:v>1.6</c:v>
                </c:pt>
                <c:pt idx="6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BF9-4ED1-92F8-D77055268FF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8184991"/>
        <c:axId val="148183351"/>
      </c:lineChart>
      <c:catAx>
        <c:axId val="1481849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3351"/>
        <c:crosses val="autoZero"/>
        <c:auto val="1"/>
        <c:lblAlgn val="ctr"/>
        <c:lblOffset val="100"/>
        <c:noMultiLvlLbl val="0"/>
      </c:catAx>
      <c:valAx>
        <c:axId val="14818335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18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F6C1B-1979-C129-F89C-878DCA968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B61EE-035D-893A-931C-561325642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ed Data &amp; Insight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9B76F4-7141-2230-FAD8-92FEEEA5B0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2397097"/>
            <a:ext cx="8201025" cy="6540252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's standard dummy text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  <a:p>
            <a:r>
              <a:rPr lang="en-US" altLang="ko-KR" sz="1900" dirty="0"/>
              <a:t>Lorem Ipsum is simply dummy text of the printing and typesetting industry. Lorem Ipsum has been the industry’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D880F7-FE40-66AB-2BAB-7AB99FEBC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0B1F59E6-4A1E-8E4A-8DDC-931CDC6A8B24}"/>
              </a:ext>
            </a:extLst>
          </p:cNvPr>
          <p:cNvSpPr txBox="1">
            <a:spLocks/>
          </p:cNvSpPr>
          <p:nvPr/>
        </p:nvSpPr>
        <p:spPr>
          <a:xfrm>
            <a:off x="9372600" y="1889656"/>
            <a:ext cx="820080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Heading</a:t>
            </a:r>
            <a:endParaRPr lang="en-US" altLang="ko-KR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9FD1D55-568B-4D76-9F5E-976218F197FB}"/>
              </a:ext>
            </a:extLst>
          </p:cNvPr>
          <p:cNvSpPr txBox="1">
            <a:spLocks/>
          </p:cNvSpPr>
          <p:nvPr/>
        </p:nvSpPr>
        <p:spPr>
          <a:xfrm>
            <a:off x="714375" y="1889656"/>
            <a:ext cx="797242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en-US" altLang="ko-KR" b="1" dirty="0">
                <a:solidFill>
                  <a:schemeClr val="accent1"/>
                </a:solidFill>
              </a:rPr>
              <a:t>Chart Title</a:t>
            </a:r>
          </a:p>
        </p:txBody>
      </p:sp>
      <p:graphicFrame>
        <p:nvGraphicFramePr>
          <p:cNvPr id="3" name="图表 1">
            <a:extLst>
              <a:ext uri="{FF2B5EF4-FFF2-40B4-BE49-F238E27FC236}">
                <a16:creationId xmlns:a16="http://schemas.microsoft.com/office/drawing/2014/main" id="{35AB204B-33E1-3B7F-8292-51E10CD9F837}"/>
              </a:ext>
            </a:extLst>
          </p:cNvPr>
          <p:cNvGraphicFramePr>
            <a:graphicFrameLocks/>
          </p:cNvGraphicFramePr>
          <p:nvPr/>
        </p:nvGraphicFramePr>
        <p:xfrm>
          <a:off x="714375" y="2397097"/>
          <a:ext cx="8201025" cy="681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85812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4</TotalTime>
  <Words>217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Balanced Data &amp; Insights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00</cp:revision>
  <dcterms:created xsi:type="dcterms:W3CDTF">2006-08-16T00:00:00Z</dcterms:created>
  <dcterms:modified xsi:type="dcterms:W3CDTF">2025-10-06T09:06:55Z</dcterms:modified>
  <cp:category/>
  <dc:identifier>DAGkDf5R9EM</dc:identifier>
</cp:coreProperties>
</file>